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492" r:id="rId2"/>
    <p:sldId id="493" r:id="rId3"/>
    <p:sldId id="495" r:id="rId4"/>
    <p:sldId id="487" r:id="rId5"/>
    <p:sldId id="485" r:id="rId6"/>
    <p:sldId id="496" r:id="rId7"/>
    <p:sldId id="490" r:id="rId8"/>
    <p:sldId id="281" r:id="rId9"/>
    <p:sldId id="494" r:id="rId10"/>
    <p:sldId id="282" r:id="rId11"/>
    <p:sldId id="447" r:id="rId12"/>
    <p:sldId id="316" r:id="rId13"/>
    <p:sldId id="324" r:id="rId14"/>
    <p:sldId id="393" r:id="rId15"/>
    <p:sldId id="339" r:id="rId16"/>
    <p:sldId id="423" r:id="rId17"/>
    <p:sldId id="433" r:id="rId18"/>
    <p:sldId id="435" r:id="rId19"/>
    <p:sldId id="437" r:id="rId20"/>
    <p:sldId id="438" r:id="rId21"/>
    <p:sldId id="440" r:id="rId22"/>
    <p:sldId id="441" r:id="rId23"/>
    <p:sldId id="442" r:id="rId24"/>
    <p:sldId id="443" r:id="rId25"/>
    <p:sldId id="448" r:id="rId26"/>
    <p:sldId id="343" r:id="rId27"/>
    <p:sldId id="461" r:id="rId28"/>
    <p:sldId id="449" r:id="rId29"/>
    <p:sldId id="427" r:id="rId30"/>
    <p:sldId id="428" r:id="rId31"/>
    <p:sldId id="467" r:id="rId32"/>
    <p:sldId id="418" r:id="rId33"/>
    <p:sldId id="465" r:id="rId34"/>
    <p:sldId id="468" r:id="rId35"/>
    <p:sldId id="470" r:id="rId36"/>
    <p:sldId id="469" r:id="rId37"/>
    <p:sldId id="475" r:id="rId38"/>
    <p:sldId id="471" r:id="rId39"/>
    <p:sldId id="477" r:id="rId40"/>
    <p:sldId id="478" r:id="rId41"/>
    <p:sldId id="479" r:id="rId42"/>
    <p:sldId id="480" r:id="rId43"/>
    <p:sldId id="481" r:id="rId44"/>
    <p:sldId id="430" r:id="rId45"/>
    <p:sldId id="328" r:id="rId46"/>
    <p:sldId id="432" r:id="rId47"/>
    <p:sldId id="426" r:id="rId48"/>
    <p:sldId id="444" r:id="rId49"/>
    <p:sldId id="484"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MOT PAPER" id="{FFC692BE-924D-4503-B90F-7F9BDE853506}">
          <p14:sldIdLst>
            <p14:sldId id="492"/>
            <p14:sldId id="493"/>
            <p14:sldId id="495"/>
            <p14:sldId id="487"/>
            <p14:sldId id="485"/>
            <p14:sldId id="496"/>
            <p14:sldId id="490"/>
          </p14:sldIdLst>
        </p14:sectio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94B2"/>
    <a:srgbClr val="617580"/>
    <a:srgbClr val="7C8A92"/>
    <a:srgbClr val="909BA1"/>
    <a:srgbClr val="A4ACB1"/>
    <a:srgbClr val="28A0C5"/>
    <a:srgbClr val="B3ECE9"/>
    <a:srgbClr val="1171BE"/>
    <a:srgbClr val="EDB120"/>
    <a:srgbClr val="0509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varScale="1">
        <p:scale>
          <a:sx n="162" d="100"/>
          <a:sy n="162" d="100"/>
        </p:scale>
        <p:origin x="612" y="11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93.pn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8.xml"/><Relationship Id="rId7" Type="http://schemas.openxmlformats.org/officeDocument/2006/relationships/image" Target="../media/image27.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25.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8.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41.png"/><Relationship Id="rId5" Type="http://schemas.openxmlformats.org/officeDocument/2006/relationships/image" Target="../media/image1030.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1.xml"/><Relationship Id="rId7" Type="http://schemas.openxmlformats.org/officeDocument/2006/relationships/image" Target="../media/image9.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3.bin"/><Relationship Id="rId9" Type="http://schemas.openxmlformats.org/officeDocument/2006/relationships/image" Target="../media/image1050.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8.png"/><Relationship Id="rId7" Type="http://schemas.openxmlformats.org/officeDocument/2006/relationships/diagramQuickStyle" Target="../diagrams/quickStyle2.xml"/><Relationship Id="rId12"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39.png"/><Relationship Id="rId5" Type="http://schemas.openxmlformats.org/officeDocument/2006/relationships/diagramData" Target="../diagrams/data2.xml"/><Relationship Id="rId10" Type="http://schemas.openxmlformats.org/officeDocument/2006/relationships/image" Target="../media/image50.png"/><Relationship Id="rId4" Type="http://schemas.openxmlformats.org/officeDocument/2006/relationships/image" Target="../media/image49.png"/><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53.png"/><Relationship Id="rId12" Type="http://schemas.openxmlformats.org/officeDocument/2006/relationships/image" Target="../media/image58.svg"/><Relationship Id="rId17" Type="http://schemas.openxmlformats.org/officeDocument/2006/relationships/image" Target="../media/image63.png"/><Relationship Id="rId2" Type="http://schemas.openxmlformats.org/officeDocument/2006/relationships/video" Target="../media/media2.mp4"/><Relationship Id="rId16" Type="http://schemas.openxmlformats.org/officeDocument/2006/relationships/image" Target="../media/image6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svg"/><Relationship Id="rId19" Type="http://schemas.openxmlformats.org/officeDocument/2006/relationships/diagramLayout" Target="../diagrams/layout4.xml"/><Relationship Id="rId4" Type="http://schemas.openxmlformats.org/officeDocument/2006/relationships/notesSlide" Target="../notesSlides/notesSlide25.xml"/><Relationship Id="rId9" Type="http://schemas.openxmlformats.org/officeDocument/2006/relationships/image" Target="../media/image55.png"/><Relationship Id="rId14" Type="http://schemas.openxmlformats.org/officeDocument/2006/relationships/image" Target="../media/image60.svg"/><Relationship Id="rId22" Type="http://schemas.microsoft.com/office/2007/relationships/diagramDrawing" Target="../diagrams/drawing4.xml"/></Relationships>
</file>

<file path=ppt/slides/_rels/slide32.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64.png"/><Relationship Id="rId7" Type="http://schemas.openxmlformats.org/officeDocument/2006/relationships/image" Target="../media/image66.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65.emf"/><Relationship Id="rId10" Type="http://schemas.openxmlformats.org/officeDocument/2006/relationships/image" Target="../media/image68.png"/><Relationship Id="rId4" Type="http://schemas.openxmlformats.org/officeDocument/2006/relationships/package" Target="../embeddings/Microsoft_PowerPoint_Presentation.pptx"/><Relationship Id="rId9" Type="http://schemas.openxmlformats.org/officeDocument/2006/relationships/image" Target="../media/image6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0.png"/><Relationship Id="rId3" Type="http://schemas.openxmlformats.org/officeDocument/2006/relationships/oleObject" Target="../embeddings/oleObject4.bin"/><Relationship Id="rId7" Type="http://schemas.openxmlformats.org/officeDocument/2006/relationships/image" Target="../media/image12.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image" Target="../media/image111.png"/><Relationship Id="rId5" Type="http://schemas.openxmlformats.org/officeDocument/2006/relationships/image" Target="../media/image69.png"/><Relationship Id="rId10" Type="http://schemas.openxmlformats.org/officeDocument/2006/relationships/image" Target="../media/image14.png"/><Relationship Id="rId4" Type="http://schemas.openxmlformats.org/officeDocument/2006/relationships/image" Target="../media/image1.emf"/><Relationship Id="rId9"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5.png"/><Relationship Id="rId3" Type="http://schemas.openxmlformats.org/officeDocument/2006/relationships/image" Target="../media/image72.png"/><Relationship Id="rId7" Type="http://schemas.openxmlformats.org/officeDocument/2006/relationships/image" Target="../media/image51.png"/><Relationship Id="rId12" Type="http://schemas.openxmlformats.org/officeDocument/2006/relationships/image" Target="../media/image54.svg"/><Relationship Id="rId2" Type="http://schemas.openxmlformats.org/officeDocument/2006/relationships/notesSlide" Target="../notesSlides/notesSlide37.xml"/><Relationship Id="rId16" Type="http://schemas.openxmlformats.org/officeDocument/2006/relationships/image" Target="../media/image62.svg"/><Relationship Id="rId1" Type="http://schemas.openxmlformats.org/officeDocument/2006/relationships/slideLayout" Target="../slideLayouts/slideLayout8.xml"/><Relationship Id="rId6" Type="http://schemas.openxmlformats.org/officeDocument/2006/relationships/image" Target="../media/image58.svg"/><Relationship Id="rId11" Type="http://schemas.openxmlformats.org/officeDocument/2006/relationships/image" Target="../media/image53.png"/><Relationship Id="rId5" Type="http://schemas.openxmlformats.org/officeDocument/2006/relationships/image" Target="../media/image57.png"/><Relationship Id="rId15" Type="http://schemas.openxmlformats.org/officeDocument/2006/relationships/image" Target="../media/image61.png"/><Relationship Id="rId10" Type="http://schemas.openxmlformats.org/officeDocument/2006/relationships/image" Target="../media/image60.svg"/><Relationship Id="rId4" Type="http://schemas.openxmlformats.org/officeDocument/2006/relationships/image" Target="../media/image73.svg"/><Relationship Id="rId9" Type="http://schemas.openxmlformats.org/officeDocument/2006/relationships/image" Target="../media/image59.png"/><Relationship Id="rId14" Type="http://schemas.openxmlformats.org/officeDocument/2006/relationships/image" Target="../media/image56.svg"/></Relationships>
</file>

<file path=ppt/slides/_rels/slide45.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76.png"/></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5.bin"/><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6.xml"/><Relationship Id="rId11" Type="http://schemas.openxmlformats.org/officeDocument/2006/relationships/image" Target="../media/image890.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 Id="rId14" Type="http://schemas.openxmlformats.org/officeDocument/2006/relationships/image" Target="../media/image9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12" Type="http://schemas.openxmlformats.org/officeDocument/2006/relationships/image" Target="../media/image18.svg"/><Relationship Id="rId2" Type="http://schemas.openxmlformats.org/officeDocument/2006/relationships/slideLayout" Target="../slideLayouts/slideLayout8.xml"/><Relationship Id="rId1" Type="http://schemas.openxmlformats.org/officeDocument/2006/relationships/tags" Target="../tags/tag7.xml"/><Relationship Id="rId11" Type="http://schemas.openxmlformats.org/officeDocument/2006/relationships/image" Target="../media/image17.png"/><Relationship Id="rId10" Type="http://schemas.openxmlformats.org/officeDocument/2006/relationships/image" Target="../media/image112.png"/><Relationship Id="rId4" Type="http://schemas.openxmlformats.org/officeDocument/2006/relationships/image" Target="../media/image1.emf"/><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10.png"/><Relationship Id="rId11" Type="http://schemas.openxmlformats.org/officeDocument/2006/relationships/image" Target="../media/image23.png"/><Relationship Id="rId5" Type="http://schemas.openxmlformats.org/officeDocument/2006/relationships/image" Target="../media/image62.png"/><Relationship Id="rId10" Type="http://schemas.openxmlformats.org/officeDocument/2006/relationships/image" Target="../media/image110.png"/><Relationship Id="rId4" Type="http://schemas.openxmlformats.org/officeDocument/2006/relationships/image" Target="../media/image3.jp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710.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m:t>
                              </m:r>
                            </m:e>
                            <m:sub>
                              <m:r>
                                <a:rPr lang="de-DE" sz="1100" i="1" dirty="0">
                                  <a:latin typeface="Cambria Math" panose="02040503050406030204" pitchFamily="18" charset="0"/>
                                </a:rPr>
                                <m:t>𝑚𝑎𝑥</m:t>
                              </m:r>
                            </m:sub>
                          </m:sSub>
                        </m:oMath>
                      </a14:m>
                      <a:endParaRPr lang="de-DE" sz="1100" dirty="0"/>
                    </a:p>
                  </p:txBody>
                </p:sp>
              </mc:Choice>
              <mc:Fallback xmlns="">
                <p:sp>
                  <p:nvSpPr>
                    <p:cNvPr id="12" name="Rechteck 11">
                      <a:extLst>
                        <a:ext uri="{FF2B5EF4-FFF2-40B4-BE49-F238E27FC236}">
                          <a16:creationId xmlns:a16="http://schemas.microsoft.com/office/drawing/2014/main" id="{1BE3AB88-CB6F-7694-EAFC-4B263D45932A}"/>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1111"/>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x18 (from 1x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0</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1</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1522483" y="516525"/>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am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a:t>
                </a: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5</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8</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3" name="Group 12">
            <a:extLst>
              <a:ext uri="{FF2B5EF4-FFF2-40B4-BE49-F238E27FC236}">
                <a16:creationId xmlns:a16="http://schemas.microsoft.com/office/drawing/2014/main" id="{6402418C-FCED-E46D-AF3F-218BB10EA918}"/>
              </a:ext>
            </a:extLst>
          </p:cNvPr>
          <p:cNvGrpSpPr/>
          <p:nvPr/>
        </p:nvGrpSpPr>
        <p:grpSpPr>
          <a:xfrm>
            <a:off x="1930833" y="588462"/>
            <a:ext cx="8343034" cy="5400000"/>
            <a:chOff x="1930833" y="588462"/>
            <a:chExt cx="8343034" cy="5400000"/>
          </a:xfrm>
        </p:grpSpPr>
        <p:grpSp>
          <p:nvGrpSpPr>
            <p:cNvPr id="11" name="Group 10">
              <a:extLst>
                <a:ext uri="{FF2B5EF4-FFF2-40B4-BE49-F238E27FC236}">
                  <a16:creationId xmlns:a16="http://schemas.microsoft.com/office/drawing/2014/main" id="{D52DEEE9-A745-6B83-DE0C-365966803232}"/>
                </a:ext>
              </a:extLst>
            </p:cNvPr>
            <p:cNvGrpSpPr/>
            <p:nvPr/>
          </p:nvGrpSpPr>
          <p:grpSpPr>
            <a:xfrm>
              <a:off x="1930833" y="588462"/>
              <a:ext cx="8343034" cy="5400000"/>
              <a:chOff x="1930833" y="588462"/>
              <a:chExt cx="8343034" cy="5400000"/>
            </a:xfrm>
          </p:grpSpPr>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sp>
            <p:nvSpPr>
              <p:cNvPr id="3" name="Rectangle 2">
                <a:extLst>
                  <a:ext uri="{FF2B5EF4-FFF2-40B4-BE49-F238E27FC236}">
                    <a16:creationId xmlns:a16="http://schemas.microsoft.com/office/drawing/2014/main" id="{3224AFE1-1F15-86E3-D5AC-359B19E2D0B5}"/>
                  </a:ext>
                </a:extLst>
              </p:cNvPr>
              <p:cNvSpPr/>
              <p:nvPr/>
            </p:nvSpPr>
            <p:spPr>
              <a:xfrm>
                <a:off x="4133851" y="4883150"/>
                <a:ext cx="720000" cy="215900"/>
              </a:xfrm>
              <a:prstGeom prst="rect">
                <a:avLst/>
              </a:prstGeom>
              <a:solidFill>
                <a:srgbClr val="A4AC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11,9%</a:t>
                </a:r>
              </a:p>
            </p:txBody>
          </p:sp>
          <p:sp>
            <p:nvSpPr>
              <p:cNvPr id="4" name="Rectangle 3">
                <a:extLst>
                  <a:ext uri="{FF2B5EF4-FFF2-40B4-BE49-F238E27FC236}">
                    <a16:creationId xmlns:a16="http://schemas.microsoft.com/office/drawing/2014/main" id="{9CD67A4C-511F-5FA9-6532-93DDAC4D1D8B}"/>
                  </a:ext>
                </a:extLst>
              </p:cNvPr>
              <p:cNvSpPr/>
              <p:nvPr/>
            </p:nvSpPr>
            <p:spPr>
              <a:xfrm>
                <a:off x="3613151" y="3822700"/>
                <a:ext cx="720000" cy="215900"/>
              </a:xfrm>
              <a:prstGeom prst="rect">
                <a:avLst/>
              </a:prstGeom>
              <a:solidFill>
                <a:srgbClr val="909B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8,3%</a:t>
                </a:r>
              </a:p>
            </p:txBody>
          </p:sp>
          <p:sp>
            <p:nvSpPr>
              <p:cNvPr id="5" name="Rectangle 4">
                <a:extLst>
                  <a:ext uri="{FF2B5EF4-FFF2-40B4-BE49-F238E27FC236}">
                    <a16:creationId xmlns:a16="http://schemas.microsoft.com/office/drawing/2014/main" id="{3BC3A732-A4EA-4BC0-682C-EBAD3C2DEC7F}"/>
                  </a:ext>
                </a:extLst>
              </p:cNvPr>
              <p:cNvSpPr/>
              <p:nvPr/>
            </p:nvSpPr>
            <p:spPr>
              <a:xfrm>
                <a:off x="3644901" y="3078912"/>
                <a:ext cx="634999" cy="215900"/>
              </a:xfrm>
              <a:prstGeom prst="rect">
                <a:avLst/>
              </a:prstGeom>
              <a:solidFill>
                <a:srgbClr val="7C8A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4,8%</a:t>
                </a:r>
              </a:p>
            </p:txBody>
          </p:sp>
          <p:sp>
            <p:nvSpPr>
              <p:cNvPr id="6" name="Rectangle 5">
                <a:extLst>
                  <a:ext uri="{FF2B5EF4-FFF2-40B4-BE49-F238E27FC236}">
                    <a16:creationId xmlns:a16="http://schemas.microsoft.com/office/drawing/2014/main" id="{48974654-3F7D-66EF-9521-3E4E35546C3F}"/>
                  </a:ext>
                </a:extLst>
              </p:cNvPr>
              <p:cNvSpPr/>
              <p:nvPr/>
            </p:nvSpPr>
            <p:spPr>
              <a:xfrm rot="1351850">
                <a:off x="3835021" y="2599583"/>
                <a:ext cx="612000" cy="253322"/>
              </a:xfrm>
              <a:prstGeom prst="rect">
                <a:avLst/>
              </a:prstGeom>
              <a:solidFill>
                <a:srgbClr val="6175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dirty="0"/>
              </a:p>
            </p:txBody>
          </p:sp>
          <p:sp>
            <p:nvSpPr>
              <p:cNvPr id="7" name="Rectangle 6">
                <a:extLst>
                  <a:ext uri="{FF2B5EF4-FFF2-40B4-BE49-F238E27FC236}">
                    <a16:creationId xmlns:a16="http://schemas.microsoft.com/office/drawing/2014/main" id="{0E5AE05A-8718-EB70-2D95-A07E3C358263}"/>
                  </a:ext>
                </a:extLst>
              </p:cNvPr>
              <p:cNvSpPr/>
              <p:nvPr/>
            </p:nvSpPr>
            <p:spPr>
              <a:xfrm>
                <a:off x="3818643" y="2555786"/>
                <a:ext cx="612000" cy="215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dirty="0"/>
                  <a:t>3,8%</a:t>
                </a:r>
              </a:p>
            </p:txBody>
          </p:sp>
        </p:grpSp>
        <p:sp>
          <p:nvSpPr>
            <p:cNvPr id="12" name="TextBox 11">
              <a:extLst>
                <a:ext uri="{FF2B5EF4-FFF2-40B4-BE49-F238E27FC236}">
                  <a16:creationId xmlns:a16="http://schemas.microsoft.com/office/drawing/2014/main" id="{E5FAB4A6-CE4B-064E-E604-1F1DD4497660}"/>
                </a:ext>
              </a:extLst>
            </p:cNvPr>
            <p:cNvSpPr txBox="1"/>
            <p:nvPr/>
          </p:nvSpPr>
          <p:spPr>
            <a:xfrm>
              <a:off x="4572000" y="612058"/>
              <a:ext cx="2996872" cy="369332"/>
            </a:xfrm>
            <a:prstGeom prst="rect">
              <a:avLst/>
            </a:prstGeom>
            <a:solidFill>
              <a:schemeClr val="bg1"/>
            </a:solidFill>
          </p:spPr>
          <p:txBody>
            <a:bodyPr wrap="square" rtlCol="0">
              <a:spAutoFit/>
            </a:bodyPr>
            <a:lstStyle/>
            <a:p>
              <a:pPr algn="ctr"/>
              <a:r>
                <a:rPr lang="en-GB" sz="1800" dirty="0">
                  <a:solidFill>
                    <a:srgbClr val="2394B2"/>
                  </a:solidFill>
                </a:rPr>
                <a:t>Tracks per timestamp</a:t>
              </a:r>
            </a:p>
          </p:txBody>
        </p:sp>
      </p:grpSp>
    </p:spTree>
    <p:extLst>
      <p:ext uri="{BB962C8B-B14F-4D97-AF65-F5344CB8AC3E}">
        <p14:creationId xmlns:p14="http://schemas.microsoft.com/office/powerpoint/2010/main" val="158518416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4</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11986" y="365939"/>
            <a:ext cx="5134156" cy="5179455"/>
            <a:chOff x="2654836" y="196849"/>
            <a:chExt cx="5134156" cy="517945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54836" y="196849"/>
              <a:ext cx="5134156" cy="5179455"/>
              <a:chOff x="2654836" y="196849"/>
              <a:chExt cx="5134156" cy="5179455"/>
            </a:xfrm>
          </p:grpSpPr>
          <p:sp>
            <p:nvSpPr>
              <p:cNvPr id="22" name="Rectangle 34">
                <a:extLst>
                  <a:ext uri="{FF2B5EF4-FFF2-40B4-BE49-F238E27FC236}">
                    <a16:creationId xmlns:a16="http://schemas.microsoft.com/office/drawing/2014/main" id="{BCC3C5A0-7C53-53ED-C307-DC03F5BA7D39}"/>
                  </a:ext>
                </a:extLst>
              </p:cNvPr>
              <p:cNvSpPr/>
              <p:nvPr/>
            </p:nvSpPr>
            <p:spPr>
              <a:xfrm>
                <a:off x="2654836" y="196850"/>
                <a:ext cx="5134156" cy="517945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54836" y="196849"/>
                <a:ext cx="4818564" cy="5136658"/>
                <a:chOff x="2654836" y="196849"/>
                <a:chExt cx="4818564" cy="5136658"/>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54836" y="196849"/>
                  <a:ext cx="4818564" cy="5136658"/>
                  <a:chOff x="2654836" y="196849"/>
                  <a:chExt cx="4818564" cy="5136658"/>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54836" y="196849"/>
                    <a:ext cx="4818564" cy="5136658"/>
                    <a:chOff x="2654836" y="196849"/>
                    <a:chExt cx="4818564" cy="5136658"/>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54836" y="196849"/>
                      <a:ext cx="4818564" cy="5136658"/>
                      <a:chOff x="2654836" y="196849"/>
                      <a:chExt cx="4818564" cy="5136658"/>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54836" y="196849"/>
                        <a:ext cx="4818564" cy="5136658"/>
                        <a:chOff x="4410484" y="-158353"/>
                        <a:chExt cx="4818564" cy="5136658"/>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10484" y="-158353"/>
                          <a:ext cx="4818564" cy="5136658"/>
                          <a:chOff x="4410484" y="-158353"/>
                          <a:chExt cx="4818564" cy="5136658"/>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10484" y="-158353"/>
                            <a:ext cx="4818564" cy="5136658"/>
                            <a:chOff x="4583048" y="-5197"/>
                            <a:chExt cx="4818564" cy="5136658"/>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583048" y="26893"/>
                              <a:ext cx="4818564" cy="5104568"/>
                              <a:chOff x="4583048" y="26893"/>
                              <a:chExt cx="4818564" cy="5104568"/>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583048" y="26893"/>
                                <a:ext cx="4818564" cy="5104568"/>
                                <a:chOff x="4583048" y="26893"/>
                                <a:chExt cx="4818564" cy="5104568"/>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583048" y="26893"/>
                                  <a:ext cx="4818564" cy="5104568"/>
                                  <a:chOff x="4583048" y="26893"/>
                                  <a:chExt cx="4818564" cy="5104568"/>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583048" y="26893"/>
                                    <a:ext cx="4818564" cy="5104568"/>
                                    <a:chOff x="3694231" y="597024"/>
                                    <a:chExt cx="4818564" cy="5104568"/>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694231" y="597024"/>
                                      <a:ext cx="4818564" cy="5104568"/>
                                      <a:chOff x="4639750" y="777136"/>
                                      <a:chExt cx="4818564" cy="5104568"/>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5183912" y="2659787"/>
                                        <a:ext cx="4274402" cy="3221917"/>
                                        <a:chOff x="3293621" y="2703757"/>
                                        <a:chExt cx="4274402" cy="3221917"/>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3293621" y="4556068"/>
                                              <a:ext cx="3980214" cy="1369606"/>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150" i="1" smtClean="0">
                                                          <a:latin typeface="Cambria Math" panose="02040503050406030204" pitchFamily="18" charset="0"/>
                                                        </a:rPr>
                                                      </m:ctrlPr>
                                                    </m:sSubPr>
                                                    <m:e>
                                                      <m:r>
                                                        <m:rPr>
                                                          <m:sty m:val="p"/>
                                                        </m:rPr>
                                                        <a:rPr lang="de-DE" sz="1150" b="0" i="0" smtClean="0">
                                                          <a:latin typeface="Cambria Math" panose="02040503050406030204" pitchFamily="18" charset="0"/>
                                                        </a:rPr>
                                                        <m:t>Z</m:t>
                                                      </m:r>
                                                    </m:e>
                                                    <m:sub>
                                                      <m:r>
                                                        <m:rPr>
                                                          <m:sty m:val="p"/>
                                                        </m:rPr>
                                                        <a:rPr lang="de-DE" sz="1150" b="0" i="0" smtClean="0">
                                                          <a:latin typeface="Cambria Math" panose="02040503050406030204" pitchFamily="18" charset="0"/>
                                                        </a:rPr>
                                                        <m:t>t</m:t>
                                                      </m:r>
                                                      <m:r>
                                                        <a:rPr lang="de-DE" sz="1150">
                                                          <a:latin typeface="Cambria Math" panose="02040503050406030204" pitchFamily="18" charset="0"/>
                                                        </a:rPr>
                                                        <m:t>,1:</m:t>
                                                      </m:r>
                                                      <m:r>
                                                        <a:rPr lang="de-DE" sz="1150">
                                                          <a:latin typeface="Cambria Math" panose="02040503050406030204" pitchFamily="18" charset="0"/>
                                                        </a:rPr>
                                                        <m:t>𝑚</m:t>
                                                      </m:r>
                                                    </m:sub>
                                                  </m:sSub>
                                                </m:oMath>
                                              </a14:m>
                                              <a:r>
                                                <a:rPr lang="de-DE" sz="1150" b="0" dirty="0"/>
                                                <a:t>	</a:t>
                                              </a:r>
                                              <a:r>
                                                <a:rPr lang="de-DE" sz="1150" dirty="0"/>
                                                <a:t> </a:t>
                                              </a:r>
                                              <a14:m>
                                                <m:oMath xmlns:m="http://schemas.openxmlformats.org/officeDocument/2006/math">
                                                  <m:r>
                                                    <a:rPr lang="de-DE" sz="1150" i="1">
                                                      <a:latin typeface="Cambria Math" panose="02040503050406030204" pitchFamily="18" charset="0"/>
                                                    </a:rPr>
                                                    <m:t>−</m:t>
                                                  </m:r>
                                                  <m:r>
                                                    <a:rPr lang="de-DE" sz="1150" b="0" i="1" smtClean="0">
                                                      <a:latin typeface="Cambria Math" panose="02040503050406030204" pitchFamily="18" charset="0"/>
                                                    </a:rPr>
                                                    <m:t> </m:t>
                                                  </m:r>
                                                  <m:r>
                                                    <a:rPr lang="de-DE" sz="1150" i="1">
                                                      <a:latin typeface="Cambria Math" panose="02040503050406030204" pitchFamily="18" charset="0"/>
                                                    </a:rPr>
                                                    <m:t>𝑆𝑒𝑛𝑠𝑜𝑟</m:t>
                                                  </m:r>
                                                  <m:r>
                                                    <a:rPr lang="de-DE" sz="1150" b="0" i="1" smtClean="0">
                                                      <a:latin typeface="Cambria Math" panose="02040503050406030204" pitchFamily="18" charset="0"/>
                                                    </a:rPr>
                                                    <m:t> </m:t>
                                                  </m:r>
                                                  <m:r>
                                                    <a:rPr lang="de-DE" sz="1150" i="1">
                                                      <a:latin typeface="Cambria Math" panose="02040503050406030204" pitchFamily="18" charset="0"/>
                                                    </a:rPr>
                                                    <m:t>𝑜𝑏𝑗𝑒𝑐𝑡𝑠</m:t>
                                                  </m:r>
                                                  <m:r>
                                                    <a:rPr lang="de-DE" sz="1150" i="1">
                                                      <a:latin typeface="Cambria Math" panose="02040503050406030204" pitchFamily="18" charset="0"/>
                                                    </a:rPr>
                                                    <m:t> 1:</m:t>
                                                  </m:r>
                                                  <m:r>
                                                    <a:rPr lang="de-DE" sz="1150" i="1">
                                                      <a:latin typeface="Cambria Math" panose="02040503050406030204" pitchFamily="18" charset="0"/>
                                                    </a:rPr>
                                                    <m:t>𝑚</m:t>
                                                  </m:r>
                                                  <m:r>
                                                    <a:rPr lang="de-DE" sz="1150" i="1">
                                                      <a:latin typeface="Cambria Math" panose="02040503050406030204" pitchFamily="18" charset="0"/>
                                                    </a:rPr>
                                                    <m:t> </m:t>
                                                  </m:r>
                                                  <m:r>
                                                    <a:rPr lang="de-DE" sz="1150" i="1">
                                                      <a:latin typeface="Cambria Math" panose="02040503050406030204" pitchFamily="18" charset="0"/>
                                                    </a:rPr>
                                                    <m:t>𝑎𝑡</m:t>
                                                  </m:r>
                                                  <m:r>
                                                    <a:rPr lang="de-DE" sz="1150" i="1">
                                                      <a:latin typeface="Cambria Math" panose="02040503050406030204" pitchFamily="18" charset="0"/>
                                                    </a:rPr>
                                                    <m:t> </m:t>
                                                  </m:r>
                                                  <m:r>
                                                    <a:rPr lang="de-DE" sz="1150" i="1">
                                                      <a:latin typeface="Cambria Math" panose="02040503050406030204" pitchFamily="18" charset="0"/>
                                                    </a:rPr>
                                                    <m:t>𝑡𝑖𝑚𝑒𝑠𝑡𝑎𝑚𝑝</m:t>
                                                  </m:r>
                                                  <m:r>
                                                    <a:rPr lang="de-DE" sz="1150" i="1">
                                                      <a:latin typeface="Cambria Math" panose="02040503050406030204" pitchFamily="18" charset="0"/>
                                                    </a:rPr>
                                                    <m:t> </m:t>
                                                  </m:r>
                                                  <m:r>
                                                    <a:rPr lang="de-DE" sz="1150" i="1">
                                                      <a:latin typeface="Cambria Math" panose="02040503050406030204" pitchFamily="18" charset="0"/>
                                                    </a:rPr>
                                                    <m:t>𝑡</m:t>
                                                  </m:r>
                                                </m:oMath>
                                              </a14:m>
                                              <a:endParaRPr lang="de-DE" sz="1150" b="0" dirty="0"/>
                                            </a:p>
                                            <a:p>
                                              <a14:m>
                                                <m:oMath xmlns:m="http://schemas.openxmlformats.org/officeDocument/2006/math">
                                                  <m:sSub>
                                                    <m:sSubPr>
                                                      <m:ctrlPr>
                                                        <a:rPr lang="de-DE" sz="1150" i="1" dirty="0" smtClean="0">
                                                          <a:latin typeface="Cambria Math" panose="02040503050406030204" pitchFamily="18" charset="0"/>
                                                        </a:rPr>
                                                      </m:ctrlPr>
                                                    </m:sSubPr>
                                                    <m:e>
                                                      <m:r>
                                                        <a:rPr lang="de-DE" sz="1150" i="1" dirty="0">
                                                          <a:latin typeface="Cambria Math" panose="02040503050406030204" pitchFamily="18" charset="0"/>
                                                        </a:rPr>
                                                        <m:t>𝑋</m:t>
                                                      </m:r>
                                                    </m:e>
                                                    <m:sub>
                                                      <m:r>
                                                        <a:rPr lang="de-DE" sz="1150" b="0" i="1" dirty="0" smtClean="0">
                                                          <a:latin typeface="Cambria Math" panose="02040503050406030204" pitchFamily="18" charset="0"/>
                                                        </a:rPr>
                                                        <m:t>𝑡</m:t>
                                                      </m:r>
                                                      <m:r>
                                                        <a:rPr lang="de-DE" sz="1150" i="1" dirty="0">
                                                          <a:latin typeface="Cambria Math" panose="02040503050406030204" pitchFamily="18" charset="0"/>
                                                        </a:rPr>
                                                        <m:t>,1:</m:t>
                                                      </m:r>
                                                      <m:r>
                                                        <a:rPr lang="de-DE" sz="1150" b="0" i="1" dirty="0" smtClean="0">
                                                          <a:latin typeface="Cambria Math" panose="02040503050406030204" pitchFamily="18" charset="0"/>
                                                        </a:rPr>
                                                        <m:t>𝑛</m:t>
                                                      </m:r>
                                                      <m:r>
                                                        <a:rPr lang="de-DE" sz="1150" b="0" i="1" dirty="0" smtClean="0">
                                                          <a:latin typeface="Cambria Math" panose="02040503050406030204" pitchFamily="18" charset="0"/>
                                                        </a:rPr>
                                                        <m:t> </m:t>
                                                      </m:r>
                                                    </m:sub>
                                                  </m:sSub>
                                                </m:oMath>
                                              </a14:m>
                                              <a:r>
                                                <a:rPr lang="de-DE" sz="1150" b="0" i="1" dirty="0">
                                                  <a:latin typeface="Cambria Math" panose="02040503050406030204" pitchFamily="18" charset="0"/>
                                                </a:rPr>
                                                <a:t>	</a:t>
                                              </a:r>
                                              <a:r>
                                                <a:rPr lang="de-DE" sz="1150" dirty="0"/>
                                                <a:t> </a:t>
                                              </a:r>
                                              <a14:m>
                                                <m:oMath xmlns:m="http://schemas.openxmlformats.org/officeDocument/2006/math">
                                                  <m:r>
                                                    <a:rPr lang="de-DE" sz="1150" i="1" dirty="0">
                                                      <a:latin typeface="Cambria Math" panose="02040503050406030204" pitchFamily="18" charset="0"/>
                                                    </a:rPr>
                                                    <m:t>−</m:t>
                                                  </m:r>
                                                  <m:r>
                                                    <a:rPr lang="de-DE" sz="1150" b="0" i="1" dirty="0" smtClean="0">
                                                      <a:latin typeface="Cambria Math" panose="02040503050406030204" pitchFamily="18" charset="0"/>
                                                    </a:rPr>
                                                    <m:t> </m:t>
                                                  </m:r>
                                                  <m:r>
                                                    <a:rPr lang="de-DE" sz="1150" i="1" dirty="0">
                                                      <a:latin typeface="Cambria Math" panose="02040503050406030204" pitchFamily="18" charset="0"/>
                                                    </a:rPr>
                                                    <m:t>𝑁𝑒𝑡𝑤𝑜𝑟𝑘</m:t>
                                                  </m:r>
                                                  <m:r>
                                                    <a:rPr lang="de-DE" sz="1150" i="1" dirty="0">
                                                      <a:latin typeface="Cambria Math" panose="02040503050406030204" pitchFamily="18" charset="0"/>
                                                    </a:rPr>
                                                    <m:t> </m:t>
                                                  </m:r>
                                                  <m:r>
                                                    <a:rPr lang="de-DE" sz="1150" b="0" i="1" dirty="0" smtClean="0">
                                                      <a:latin typeface="Cambria Math" panose="02040503050406030204" pitchFamily="18" charset="0"/>
                                                    </a:rPr>
                                                    <m:t>𝑝</m:t>
                                                  </m:r>
                                                  <m:r>
                                                    <a:rPr lang="de-DE" sz="1150" i="1" dirty="0">
                                                      <a:latin typeface="Cambria Math" panose="02040503050406030204" pitchFamily="18" charset="0"/>
                                                    </a:rPr>
                                                    <m:t>𝑟𝑒𝑑𝑖𝑐𝑡𝑖𝑜𝑛𝑠</m:t>
                                                  </m:r>
                                                  <m:r>
                                                    <a:rPr lang="de-DE" sz="1150" i="1" dirty="0">
                                                      <a:latin typeface="Cambria Math" panose="02040503050406030204" pitchFamily="18" charset="0"/>
                                                    </a:rPr>
                                                    <m:t> 1:</m:t>
                                                  </m:r>
                                                  <m:r>
                                                    <a:rPr lang="de-DE" sz="1150" i="1" dirty="0">
                                                      <a:latin typeface="Cambria Math" panose="02040503050406030204" pitchFamily="18" charset="0"/>
                                                    </a:rPr>
                                                    <m:t>𝑛</m:t>
                                                  </m:r>
                                                  <m:r>
                                                    <a:rPr lang="de-DE" sz="1150" b="0" i="1" dirty="0" smtClean="0">
                                                      <a:latin typeface="Cambria Math" panose="02040503050406030204" pitchFamily="18" charset="0"/>
                                                    </a:rPr>
                                                    <m:t> </m:t>
                                                  </m:r>
                                                  <m:r>
                                                    <a:rPr lang="de-DE" sz="1150" i="1">
                                                      <a:latin typeface="Cambria Math" panose="02040503050406030204" pitchFamily="18" charset="0"/>
                                                    </a:rPr>
                                                    <m:t>𝑎𝑡</m:t>
                                                  </m:r>
                                                  <m:r>
                                                    <a:rPr lang="de-DE" sz="1150" b="0" i="1" smtClean="0">
                                                      <a:latin typeface="Cambria Math" panose="02040503050406030204" pitchFamily="18" charset="0"/>
                                                    </a:rPr>
                                                    <m:t> </m:t>
                                                  </m:r>
                                                  <m:r>
                                                    <a:rPr lang="de-DE" sz="1150" i="1" dirty="0">
                                                      <a:latin typeface="Cambria Math" panose="02040503050406030204" pitchFamily="18" charset="0"/>
                                                    </a:rPr>
                                                    <m:t>𝑡𝑖𝑚𝑒𝑠𝑡</m:t>
                                                  </m:r>
                                                  <m:r>
                                                    <a:rPr lang="de-DE" sz="1150" b="0" i="1" dirty="0" smtClean="0">
                                                      <a:latin typeface="Cambria Math" panose="02040503050406030204" pitchFamily="18" charset="0"/>
                                                    </a:rPr>
                                                    <m:t>𝑎𝑚𝑝</m:t>
                                                  </m:r>
                                                  <m:r>
                                                    <a:rPr lang="de-DE" sz="1150" i="1" dirty="0">
                                                      <a:latin typeface="Cambria Math" panose="02040503050406030204" pitchFamily="18" charset="0"/>
                                                    </a:rPr>
                                                    <m:t> </m:t>
                                                  </m:r>
                                                  <m:r>
                                                    <a:rPr lang="de-DE" sz="1150" i="1" dirty="0">
                                                      <a:latin typeface="Cambria Math" panose="02040503050406030204" pitchFamily="18" charset="0"/>
                                                    </a:rPr>
                                                    <m:t>𝑡</m:t>
                                                  </m:r>
                                                </m:oMath>
                                              </a14:m>
                                              <a:endParaRPr lang="de-DE" sz="1150" b="0" i="1" dirty="0">
                                                <a:latin typeface="Cambria Math" panose="02040503050406030204" pitchFamily="18" charset="0"/>
                                              </a:endParaRPr>
                                            </a:p>
                                            <a:p>
                                              <a14:m>
                                                <m:oMath xmlns:m="http://schemas.openxmlformats.org/officeDocument/2006/math">
                                                  <m:sSub>
                                                    <m:sSubPr>
                                                      <m:ctrlPr>
                                                        <a:rPr lang="de-DE" sz="1150" i="1" dirty="0" smtClean="0">
                                                          <a:latin typeface="Cambria Math" panose="02040503050406030204" pitchFamily="18" charset="0"/>
                                                        </a:rPr>
                                                      </m:ctrlPr>
                                                    </m:sSubPr>
                                                    <m:e>
                                                      <m:r>
                                                        <a:rPr lang="de-DE" sz="1150" b="0" i="1" dirty="0" smtClean="0">
                                                          <a:latin typeface="Cambria Math" panose="02040503050406030204" pitchFamily="18" charset="0"/>
                                                        </a:rPr>
                                                        <m:t>𝐴</m:t>
                                                      </m:r>
                                                    </m:e>
                                                    <m:sub>
                                                      <m:r>
                                                        <a:rPr lang="de-DE" sz="1150" b="0" i="1" dirty="0" smtClean="0">
                                                          <a:latin typeface="Cambria Math" panose="02040503050406030204" pitchFamily="18" charset="0"/>
                                                        </a:rPr>
                                                        <m:t>𝑡</m:t>
                                                      </m:r>
                                                      <m:r>
                                                        <a:rPr lang="de-DE" sz="1150" b="0" i="1" dirty="0" smtClean="0">
                                                          <a:latin typeface="Cambria Math" panose="02040503050406030204" pitchFamily="18" charset="0"/>
                                                        </a:rPr>
                                                        <m:t>,1:</m:t>
                                                      </m:r>
                                                      <m:r>
                                                        <a:rPr lang="de-DE" sz="1150" b="0" i="1" dirty="0" smtClean="0">
                                                          <a:latin typeface="Cambria Math" panose="02040503050406030204" pitchFamily="18" charset="0"/>
                                                        </a:rPr>
                                                        <m:t>𝑚</m:t>
                                                      </m:r>
                                                    </m:sub>
                                                  </m:sSub>
                                                </m:oMath>
                                              </a14:m>
                                              <a:r>
                                                <a:rPr lang="de-DE" sz="1150" b="0" i="1" dirty="0">
                                                  <a:latin typeface="Cambria Math" panose="02040503050406030204" pitchFamily="18" charset="0"/>
                                                </a:rPr>
                                                <a:t>	</a:t>
                                              </a:r>
                                              <a:r>
                                                <a:rPr lang="de-DE" sz="1150" dirty="0"/>
                                                <a:t> </a:t>
                                              </a:r>
                                              <a14:m>
                                                <m:oMath xmlns:m="http://schemas.openxmlformats.org/officeDocument/2006/math">
                                                  <m:r>
                                                    <a:rPr lang="de-DE" sz="1150" i="1" dirty="0">
                                                      <a:latin typeface="Cambria Math" panose="02040503050406030204" pitchFamily="18" charset="0"/>
                                                    </a:rPr>
                                                    <m:t>−</m:t>
                                                  </m:r>
                                                  <m:r>
                                                    <a:rPr lang="de-DE" sz="1150" b="0" i="1" dirty="0" smtClean="0">
                                                      <a:latin typeface="Cambria Math" panose="02040503050406030204" pitchFamily="18" charset="0"/>
                                                    </a:rPr>
                                                    <m:t> </m:t>
                                                  </m:r>
                                                  <m:r>
                                                    <m:rPr>
                                                      <m:nor/>
                                                    </m:rPr>
                                                    <a:rPr lang="en-US" sz="1150" i="1" dirty="0">
                                                      <a:latin typeface="Cambria Math" panose="02040503050406030204" pitchFamily="18" charset="0"/>
                                                    </a:rPr>
                                                    <m:t>Assignment</m:t>
                                                  </m:r>
                                                  <m:r>
                                                    <m:rPr>
                                                      <m:nor/>
                                                    </m:rPr>
                                                    <a:rPr lang="de-DE" sz="1150" b="0" i="1" dirty="0" smtClean="0">
                                                      <a:latin typeface="Cambria Math" panose="02040503050406030204" pitchFamily="18" charset="0"/>
                                                    </a:rPr>
                                                    <m:t> </m:t>
                                                  </m:r>
                                                  <m:r>
                                                    <m:rPr>
                                                      <m:nor/>
                                                    </m:rPr>
                                                    <a:rPr lang="en-US" sz="1150" i="1" dirty="0">
                                                      <a:latin typeface="Cambria Math" panose="02040503050406030204" pitchFamily="18" charset="0"/>
                                                    </a:rPr>
                                                    <m:t>of</m:t>
                                                  </m:r>
                                                  <m:r>
                                                    <m:rPr>
                                                      <m:nor/>
                                                    </m:rPr>
                                                    <a:rPr lang="en-US" sz="1150" i="1" dirty="0">
                                                      <a:latin typeface="Cambria Math" panose="02040503050406030204" pitchFamily="18" charset="0"/>
                                                    </a:rPr>
                                                    <m:t> </m:t>
                                                  </m:r>
                                                  <m:r>
                                                    <m:rPr>
                                                      <m:nor/>
                                                    </m:rPr>
                                                    <a:rPr lang="en-US" sz="1150" i="1" dirty="0">
                                                      <a:latin typeface="Cambria Math" panose="02040503050406030204" pitchFamily="18" charset="0"/>
                                                    </a:rPr>
                                                    <m:t>sensor</m:t>
                                                  </m:r>
                                                  <m:r>
                                                    <m:rPr>
                                                      <m:nor/>
                                                    </m:rPr>
                                                    <a:rPr lang="en-US" sz="1150" i="1" dirty="0">
                                                      <a:latin typeface="Cambria Math" panose="02040503050406030204" pitchFamily="18" charset="0"/>
                                                    </a:rPr>
                                                    <m:t> </m:t>
                                                  </m:r>
                                                  <m:r>
                                                    <m:rPr>
                                                      <m:nor/>
                                                    </m:rPr>
                                                    <a:rPr lang="en-US" sz="1150" i="1" dirty="0">
                                                      <a:latin typeface="Cambria Math" panose="02040503050406030204" pitchFamily="18" charset="0"/>
                                                    </a:rPr>
                                                    <m:t>object</m:t>
                                                  </m:r>
                                                  <m:r>
                                                    <m:rPr>
                                                      <m:nor/>
                                                    </m:rPr>
                                                    <a:rPr lang="en-US" sz="1150" i="1" dirty="0">
                                                      <a:latin typeface="Cambria Math" panose="02040503050406030204" pitchFamily="18" charset="0"/>
                                                    </a:rPr>
                                                    <m:t> 1:</m:t>
                                                  </m:r>
                                                  <m:r>
                                                    <m:rPr>
                                                      <m:nor/>
                                                    </m:rPr>
                                                    <a:rPr lang="en-US" sz="1150" i="1" dirty="0">
                                                      <a:latin typeface="Cambria Math" panose="02040503050406030204" pitchFamily="18" charset="0"/>
                                                    </a:rPr>
                                                    <m:t>m</m:t>
                                                  </m:r>
                                                  <m:r>
                                                    <m:rPr>
                                                      <m:nor/>
                                                    </m:rPr>
                                                    <a:rPr lang="de-DE" sz="1150" b="0" i="1" dirty="0" smtClean="0">
                                                      <a:latin typeface="Cambria Math" panose="02040503050406030204" pitchFamily="18" charset="0"/>
                                                    </a:rPr>
                                                    <m:t> </m:t>
                                                  </m:r>
                                                  <m:r>
                                                    <m:rPr>
                                                      <m:nor/>
                                                    </m:rPr>
                                                    <a:rPr lang="de-DE" sz="1150" b="0" i="1" dirty="0" smtClean="0">
                                                      <a:latin typeface="Cambria Math" panose="02040503050406030204" pitchFamily="18" charset="0"/>
                                                    </a:rPr>
                                                    <m:t>to</m:t>
                                                  </m:r>
                                                </m:oMath>
                                              </a14:m>
                                              <a:endParaRPr lang="de-DE" sz="1150" b="0" i="1" dirty="0">
                                                <a:latin typeface="Cambria Math" panose="02040503050406030204" pitchFamily="18" charset="0"/>
                                              </a:endParaRPr>
                                            </a:p>
                                            <a:p>
                                              <a:r>
                                                <a:rPr lang="de-DE" sz="1150" dirty="0"/>
                                                <a:t>	</a:t>
                                              </a:r>
                                              <a:r>
                                                <a:rPr lang="en-US" sz="1150" dirty="0"/>
                                                <a:t> </a:t>
                                              </a:r>
                                              <a14:m>
                                                <m:oMath xmlns:m="http://schemas.openxmlformats.org/officeDocument/2006/math">
                                                  <m:r>
                                                    <a:rPr lang="de-DE" sz="1150" b="0" i="0" dirty="0" smtClean="0">
                                                      <a:latin typeface="Cambria Math" panose="02040503050406030204" pitchFamily="18" charset="0"/>
                                                    </a:rPr>
                                                    <m:t>    </m:t>
                                                  </m:r>
                                                  <m:r>
                                                    <a:rPr lang="de-DE" sz="1150" b="0" i="1" dirty="0" smtClean="0">
                                                      <a:latin typeface="Cambria Math" panose="02040503050406030204" pitchFamily="18" charset="0"/>
                                                    </a:rPr>
                                                    <m:t>𝑛</m:t>
                                                  </m:r>
                                                  <m:r>
                                                    <a:rPr lang="de-DE" sz="1150" i="1" dirty="0">
                                                      <a:latin typeface="Cambria Math" panose="02040503050406030204" pitchFamily="18" charset="0"/>
                                                    </a:rPr>
                                                    <m:t>𝑒𝑡𝑤𝑜𝑟𝑘</m:t>
                                                  </m:r>
                                                  <m:r>
                                                    <a:rPr lang="de-DE" sz="1150" i="1" dirty="0">
                                                      <a:latin typeface="Cambria Math" panose="02040503050406030204" pitchFamily="18" charset="0"/>
                                                    </a:rPr>
                                                    <m:t> </m:t>
                                                  </m:r>
                                                  <m:r>
                                                    <a:rPr lang="de-DE" sz="1150" b="0" i="1" dirty="0" smtClean="0">
                                                      <a:latin typeface="Cambria Math" panose="02040503050406030204" pitchFamily="18" charset="0"/>
                                                    </a:rPr>
                                                    <m:t>𝑝</m:t>
                                                  </m:r>
                                                  <m:r>
                                                    <a:rPr lang="de-DE" sz="1150" i="1" dirty="0">
                                                      <a:latin typeface="Cambria Math" panose="02040503050406030204" pitchFamily="18" charset="0"/>
                                                    </a:rPr>
                                                    <m:t>𝑟𝑒𝑑𝑖𝑐𝑡𝑖𝑜𝑛𝑠</m:t>
                                                  </m:r>
                                                  <m:r>
                                                    <a:rPr lang="de-DE" sz="1150" i="1" dirty="0">
                                                      <a:latin typeface="Cambria Math" panose="02040503050406030204" pitchFamily="18" charset="0"/>
                                                    </a:rPr>
                                                    <m:t> 1:</m:t>
                                                  </m:r>
                                                  <m:r>
                                                    <a:rPr lang="de-DE" sz="1150" i="1" dirty="0">
                                                      <a:latin typeface="Cambria Math" panose="02040503050406030204" pitchFamily="18" charset="0"/>
                                                    </a:rPr>
                                                    <m:t>𝑛</m:t>
                                                  </m:r>
                                                  <m:r>
                                                    <a:rPr lang="de-DE" sz="1150" b="0" i="1" dirty="0" smtClean="0">
                                                      <a:latin typeface="Cambria Math" panose="02040503050406030204" pitchFamily="18" charset="0"/>
                                                    </a:rPr>
                                                    <m:t> </m:t>
                                                  </m:r>
                                                  <m:r>
                                                    <a:rPr lang="de-DE" sz="1150" i="1">
                                                      <a:latin typeface="Cambria Math" panose="02040503050406030204" pitchFamily="18" charset="0"/>
                                                    </a:rPr>
                                                    <m:t>𝑎𝑡</m:t>
                                                  </m:r>
                                                  <m:r>
                                                    <a:rPr lang="de-DE" sz="1150" b="0" i="1" smtClean="0">
                                                      <a:latin typeface="Cambria Math" panose="02040503050406030204" pitchFamily="18" charset="0"/>
                                                    </a:rPr>
                                                    <m:t> </m:t>
                                                  </m:r>
                                                  <m:r>
                                                    <a:rPr lang="de-DE" sz="1150" i="1" dirty="0">
                                                      <a:latin typeface="Cambria Math" panose="02040503050406030204" pitchFamily="18" charset="0"/>
                                                    </a:rPr>
                                                    <m:t>𝑡𝑖𝑚𝑒𝑠𝑡</m:t>
                                                  </m:r>
                                                  <m:r>
                                                    <a:rPr lang="de-DE" sz="1150" b="0" i="1" dirty="0" smtClean="0">
                                                      <a:latin typeface="Cambria Math" panose="02040503050406030204" pitchFamily="18" charset="0"/>
                                                    </a:rPr>
                                                    <m:t>𝑎𝑚𝑝</m:t>
                                                  </m:r>
                                                  <m:r>
                                                    <a:rPr lang="de-DE" sz="1150" i="1" dirty="0">
                                                      <a:latin typeface="Cambria Math" panose="02040503050406030204" pitchFamily="18" charset="0"/>
                                                    </a:rPr>
                                                    <m:t> </m:t>
                                                  </m:r>
                                                  <m:r>
                                                    <a:rPr lang="de-DE" sz="1150" i="1" dirty="0">
                                                      <a:latin typeface="Cambria Math" panose="02040503050406030204" pitchFamily="18" charset="0"/>
                                                    </a:rPr>
                                                    <m:t>𝑡</m:t>
                                                  </m:r>
                                                  <m:r>
                                                    <a:rPr lang="de-DE" sz="1150" i="1" dirty="0">
                                                      <a:latin typeface="Cambria Math" panose="02040503050406030204" pitchFamily="18" charset="0"/>
                                                    </a:rPr>
                                                    <m:t> </m:t>
                                                  </m:r>
                                                </m:oMath>
                                              </a14:m>
                                              <a:endParaRPr lang="en-US" sz="1150" i="1" dirty="0">
                                                <a:latin typeface="Cambria Math" panose="02040503050406030204" pitchFamily="18" charset="0"/>
                                              </a:endParaRPr>
                                            </a:p>
                                            <a:p>
                                              <a14:m>
                                                <m:oMath xmlns:m="http://schemas.openxmlformats.org/officeDocument/2006/math">
                                                  <m:sSub>
                                                    <m:sSubPr>
                                                      <m:ctrlPr>
                                                        <a:rPr lang="de-DE" sz="1150" i="1" dirty="0">
                                                          <a:latin typeface="Cambria Math" panose="02040503050406030204" pitchFamily="18" charset="0"/>
                                                        </a:rPr>
                                                      </m:ctrlPr>
                                                    </m:sSubPr>
                                                    <m:e>
                                                      <m:sSup>
                                                        <m:sSupPr>
                                                          <m:ctrlPr>
                                                            <a:rPr lang="de-DE" sz="1150" i="1" dirty="0">
                                                              <a:latin typeface="Cambria Math" panose="02040503050406030204" pitchFamily="18" charset="0"/>
                                                            </a:rPr>
                                                          </m:ctrlPr>
                                                        </m:sSupPr>
                                                        <m:e>
                                                          <m:r>
                                                            <a:rPr lang="de-DE" sz="1150" i="1" dirty="0">
                                                              <a:latin typeface="Cambria Math" panose="02040503050406030204" pitchFamily="18" charset="0"/>
                                                            </a:rPr>
                                                            <m:t>𝑇</m:t>
                                                          </m:r>
                                                        </m:e>
                                                        <m:sup>
                                                          <m:r>
                                                            <a:rPr lang="de-DE" sz="1150" i="1" dirty="0">
                                                              <a:latin typeface="Cambria Math" panose="02040503050406030204" pitchFamily="18" charset="0"/>
                                                            </a:rPr>
                                                            <m:t>𝑢</m:t>
                                                          </m:r>
                                                        </m:sup>
                                                      </m:sSup>
                                                    </m:e>
                                                    <m:sub>
                                                      <m:r>
                                                        <a:rPr lang="de-DE" sz="1150" i="1" dirty="0">
                                                          <a:latin typeface="Cambria Math" panose="02040503050406030204" pitchFamily="18" charset="0"/>
                                                        </a:rPr>
                                                        <m:t>𝑡</m:t>
                                                      </m:r>
                                                      <m:r>
                                                        <a:rPr lang="de-DE" sz="1150" i="1" dirty="0">
                                                          <a:latin typeface="Cambria Math" panose="02040503050406030204" pitchFamily="18" charset="0"/>
                                                        </a:rPr>
                                                        <m:t>,1:</m:t>
                                                      </m:r>
                                                      <m:r>
                                                        <a:rPr lang="de-DE" sz="1150" i="1" dirty="0">
                                                          <a:latin typeface="Cambria Math" panose="02040503050406030204" pitchFamily="18" charset="0"/>
                                                        </a:rPr>
                                                        <m:t>𝑛</m:t>
                                                      </m:r>
                                                    </m:sub>
                                                  </m:sSub>
                                                </m:oMath>
                                              </a14:m>
                                              <a:r>
                                                <a:rPr lang="de-DE" sz="1150" dirty="0"/>
                                                <a:t>	 </a:t>
                                              </a:r>
                                              <a14:m>
                                                <m:oMath xmlns:m="http://schemas.openxmlformats.org/officeDocument/2006/math">
                                                  <m:r>
                                                    <a:rPr lang="de-DE" sz="1150" i="1" dirty="0">
                                                      <a:latin typeface="Cambria Math" panose="02040503050406030204" pitchFamily="18" charset="0"/>
                                                    </a:rPr>
                                                    <m:t>− </m:t>
                                                  </m:r>
                                                  <m:r>
                                                    <a:rPr lang="de-DE" sz="1150" i="1" dirty="0">
                                                      <a:latin typeface="Cambria Math" panose="02040503050406030204" pitchFamily="18" charset="0"/>
                                                    </a:rPr>
                                                    <m:t>𝑈𝑝𝑑𝑎𝑡𝑒𝑑</m:t>
                                                  </m:r>
                                                  <m:r>
                                                    <a:rPr lang="de-DE" sz="1150" i="1" dirty="0">
                                                      <a:latin typeface="Cambria Math" panose="02040503050406030204" pitchFamily="18" charset="0"/>
                                                    </a:rPr>
                                                    <m:t> </m:t>
                                                  </m:r>
                                                  <m:r>
                                                    <a:rPr lang="de-DE" sz="1150" b="0" i="1" dirty="0" smtClean="0">
                                                      <a:latin typeface="Cambria Math" panose="02040503050406030204" pitchFamily="18" charset="0"/>
                                                    </a:rPr>
                                                    <m:t>𝑡</m:t>
                                                  </m:r>
                                                  <m:r>
                                                    <a:rPr lang="de-DE" sz="1150" i="1" dirty="0">
                                                      <a:latin typeface="Cambria Math" panose="02040503050406030204" pitchFamily="18" charset="0"/>
                                                    </a:rPr>
                                                    <m:t>𝑟𝑎𝑐𝑘𝑠</m:t>
                                                  </m:r>
                                                  <m:r>
                                                    <a:rPr lang="de-DE" sz="1150" i="1" dirty="0">
                                                      <a:latin typeface="Cambria Math" panose="02040503050406030204" pitchFamily="18" charset="0"/>
                                                    </a:rPr>
                                                    <m:t> 1:</m:t>
                                                  </m:r>
                                                  <m:r>
                                                    <a:rPr lang="de-DE" sz="1150" i="1" dirty="0">
                                                      <a:latin typeface="Cambria Math" panose="02040503050406030204" pitchFamily="18" charset="0"/>
                                                    </a:rPr>
                                                    <m:t>𝑛</m:t>
                                                  </m:r>
                                                  <m:r>
                                                    <a:rPr lang="de-DE" sz="1150" i="1" dirty="0">
                                                      <a:latin typeface="Cambria Math" panose="02040503050406030204" pitchFamily="18" charset="0"/>
                                                    </a:rPr>
                                                    <m:t> </m:t>
                                                  </m:r>
                                                  <m:r>
                                                    <a:rPr lang="de-DE" sz="1150" i="1" dirty="0">
                                                      <a:latin typeface="Cambria Math" panose="02040503050406030204" pitchFamily="18" charset="0"/>
                                                    </a:rPr>
                                                    <m:t>𝑎𝑡</m:t>
                                                  </m:r>
                                                  <m:r>
                                                    <a:rPr lang="de-DE" sz="1150" i="1" dirty="0">
                                                      <a:latin typeface="Cambria Math" panose="02040503050406030204" pitchFamily="18" charset="0"/>
                                                    </a:rPr>
                                                    <m:t> </m:t>
                                                  </m:r>
                                                  <m:r>
                                                    <a:rPr lang="de-DE" sz="1150" i="1" dirty="0">
                                                      <a:latin typeface="Cambria Math" panose="02040503050406030204" pitchFamily="18" charset="0"/>
                                                    </a:rPr>
                                                    <m:t>𝑡𝑖𝑚𝑒𝑠𝑡𝑎𝑚𝑝</m:t>
                                                  </m:r>
                                                  <m:r>
                                                    <a:rPr lang="de-DE" sz="1150" i="1" dirty="0">
                                                      <a:latin typeface="Cambria Math" panose="02040503050406030204" pitchFamily="18" charset="0"/>
                                                    </a:rPr>
                                                    <m:t> </m:t>
                                                  </m:r>
                                                  <m:r>
                                                    <a:rPr lang="de-DE" sz="1150" i="1" dirty="0">
                                                      <a:latin typeface="Cambria Math" panose="02040503050406030204" pitchFamily="18" charset="0"/>
                                                    </a:rPr>
                                                    <m:t>𝑡</m:t>
                                                  </m:r>
                                                </m:oMath>
                                              </a14:m>
                                              <a:endParaRPr lang="de-DE" sz="1150" dirty="0"/>
                                            </a:p>
                                            <a:p>
                                              <a14:m>
                                                <m:oMath xmlns:m="http://schemas.openxmlformats.org/officeDocument/2006/math">
                                                  <m:sSub>
                                                    <m:sSubPr>
                                                      <m:ctrlPr>
                                                        <a:rPr lang="de-DE" sz="1150" i="1" dirty="0">
                                                          <a:latin typeface="Cambria Math" panose="02040503050406030204" pitchFamily="18" charset="0"/>
                                                        </a:rPr>
                                                      </m:ctrlPr>
                                                    </m:sSubPr>
                                                    <m:e>
                                                      <m:sSup>
                                                        <m:sSupPr>
                                                          <m:ctrlPr>
                                                            <a:rPr lang="de-DE" sz="1150" i="1" dirty="0">
                                                              <a:latin typeface="Cambria Math" panose="02040503050406030204" pitchFamily="18" charset="0"/>
                                                            </a:rPr>
                                                          </m:ctrlPr>
                                                        </m:sSupPr>
                                                        <m:e>
                                                          <m:r>
                                                            <a:rPr lang="de-DE" sz="1150" i="1" dirty="0">
                                                              <a:latin typeface="Cambria Math" panose="02040503050406030204" pitchFamily="18" charset="0"/>
                                                            </a:rPr>
                                                            <m:t>𝑇</m:t>
                                                          </m:r>
                                                        </m:e>
                                                        <m:sup>
                                                          <m:r>
                                                            <a:rPr lang="de-DE" sz="1150" b="0" i="1" dirty="0" smtClean="0">
                                                              <a:latin typeface="Cambria Math" panose="02040503050406030204" pitchFamily="18" charset="0"/>
                                                            </a:rPr>
                                                            <m:t>𝑐</m:t>
                                                          </m:r>
                                                        </m:sup>
                                                      </m:sSup>
                                                    </m:e>
                                                    <m:sub>
                                                      <m:r>
                                                        <a:rPr lang="de-DE" sz="1150" i="1" dirty="0">
                                                          <a:latin typeface="Cambria Math" panose="02040503050406030204" pitchFamily="18" charset="0"/>
                                                        </a:rPr>
                                                        <m:t>𝑡</m:t>
                                                      </m:r>
                                                      <m:r>
                                                        <a:rPr lang="de-DE" sz="1150" i="1" dirty="0">
                                                          <a:latin typeface="Cambria Math" panose="02040503050406030204" pitchFamily="18" charset="0"/>
                                                        </a:rPr>
                                                        <m:t>,1:</m:t>
                                                      </m:r>
                                                      <m:r>
                                                        <a:rPr lang="de-DE" sz="1150" i="1" dirty="0">
                                                          <a:latin typeface="Cambria Math" panose="02040503050406030204" pitchFamily="18" charset="0"/>
                                                        </a:rPr>
                                                        <m:t>𝑛</m:t>
                                                      </m:r>
                                                    </m:sub>
                                                  </m:sSub>
                                                </m:oMath>
                                              </a14:m>
                                              <a:r>
                                                <a:rPr lang="en-US" sz="1150" i="1" dirty="0">
                                                  <a:latin typeface="Cambria Math" panose="02040503050406030204" pitchFamily="18" charset="0"/>
                                                </a:rPr>
                                                <a:t>	</a:t>
                                              </a:r>
                                              <a:r>
                                                <a:rPr lang="de-DE" sz="1150" dirty="0"/>
                                                <a:t> </a:t>
                                              </a:r>
                                              <a14:m>
                                                <m:oMath xmlns:m="http://schemas.openxmlformats.org/officeDocument/2006/math">
                                                  <m:r>
                                                    <a:rPr lang="de-DE" sz="1150" i="1" dirty="0">
                                                      <a:latin typeface="Cambria Math" panose="02040503050406030204" pitchFamily="18" charset="0"/>
                                                    </a:rPr>
                                                    <m:t>− </m:t>
                                                  </m:r>
                                                  <m:r>
                                                    <a:rPr lang="de-DE" sz="1150" i="1" dirty="0">
                                                      <a:latin typeface="Cambria Math" panose="02040503050406030204" pitchFamily="18" charset="0"/>
                                                    </a:rPr>
                                                    <m:t>𝐶𝑜𝑛𝑓𝑖𝑟𝑚𝑒𝑑</m:t>
                                                  </m:r>
                                                  <m:r>
                                                    <a:rPr lang="de-DE" sz="1150" i="1" dirty="0">
                                                      <a:latin typeface="Cambria Math" panose="02040503050406030204" pitchFamily="18" charset="0"/>
                                                    </a:rPr>
                                                    <m:t> </m:t>
                                                  </m:r>
                                                  <m:r>
                                                    <a:rPr lang="de-DE" sz="1150" b="0" i="1" dirty="0" smtClean="0">
                                                      <a:latin typeface="Cambria Math" panose="02040503050406030204" pitchFamily="18" charset="0"/>
                                                    </a:rPr>
                                                    <m:t>𝑡</m:t>
                                                  </m:r>
                                                  <m:r>
                                                    <a:rPr lang="de-DE" sz="1150" i="1" dirty="0">
                                                      <a:latin typeface="Cambria Math" panose="02040503050406030204" pitchFamily="18" charset="0"/>
                                                    </a:rPr>
                                                    <m:t>𝑟𝑎𝑐𝑘𝑠</m:t>
                                                  </m:r>
                                                  <m:r>
                                                    <a:rPr lang="de-DE" sz="1150" i="1" dirty="0">
                                                      <a:latin typeface="Cambria Math" panose="02040503050406030204" pitchFamily="18" charset="0"/>
                                                    </a:rPr>
                                                    <m:t> 1:</m:t>
                                                  </m:r>
                                                  <m:r>
                                                    <a:rPr lang="de-DE" sz="1150" i="1" dirty="0">
                                                      <a:latin typeface="Cambria Math" panose="02040503050406030204" pitchFamily="18" charset="0"/>
                                                    </a:rPr>
                                                    <m:t>𝑛</m:t>
                                                  </m:r>
                                                  <m:r>
                                                    <a:rPr lang="de-DE" sz="1150" i="1" dirty="0">
                                                      <a:latin typeface="Cambria Math" panose="02040503050406030204" pitchFamily="18" charset="0"/>
                                                    </a:rPr>
                                                    <m:t> </m:t>
                                                  </m:r>
                                                  <m:r>
                                                    <a:rPr lang="de-DE" sz="1150" i="1" dirty="0">
                                                      <a:latin typeface="Cambria Math" panose="02040503050406030204" pitchFamily="18" charset="0"/>
                                                    </a:rPr>
                                                    <m:t>𝑎𝑡</m:t>
                                                  </m:r>
                                                  <m:r>
                                                    <a:rPr lang="de-DE" sz="1150" i="1" dirty="0">
                                                      <a:latin typeface="Cambria Math" panose="02040503050406030204" pitchFamily="18" charset="0"/>
                                                    </a:rPr>
                                                    <m:t> </m:t>
                                                  </m:r>
                                                  <m:r>
                                                    <a:rPr lang="de-DE" sz="1150" i="1" dirty="0">
                                                      <a:latin typeface="Cambria Math" panose="02040503050406030204" pitchFamily="18" charset="0"/>
                                                    </a:rPr>
                                                    <m:t>𝑡𝑖𝑚𝑒𝑠𝑡𝑎𝑚𝑝</m:t>
                                                  </m:r>
                                                  <m:r>
                                                    <a:rPr lang="de-DE" sz="1150" i="1" dirty="0">
                                                      <a:latin typeface="Cambria Math" panose="02040503050406030204" pitchFamily="18" charset="0"/>
                                                    </a:rPr>
                                                    <m:t> </m:t>
                                                  </m:r>
                                                  <m:r>
                                                    <a:rPr lang="de-DE" sz="1150" i="1" dirty="0">
                                                      <a:latin typeface="Cambria Math" panose="02040503050406030204" pitchFamily="18" charset="0"/>
                                                    </a:rPr>
                                                    <m:t>𝑡</m:t>
                                                  </m:r>
                                                </m:oMath>
                                              </a14:m>
                                              <a:endParaRPr lang="de-DE" sz="115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150" b="0" i="1" dirty="0" smtClean="0">
                                                        <a:latin typeface="Cambria Math" panose="02040503050406030204" pitchFamily="18" charset="0"/>
                                                      </a:rPr>
                                                      <m:t>𝑛</m:t>
                                                    </m:r>
                                                    <m:r>
                                                      <m:rPr>
                                                        <m:nor/>
                                                      </m:rPr>
                                                      <a:rPr lang="de-DE" sz="1150" b="0" i="1" dirty="0" smtClean="0">
                                                        <a:latin typeface="Cambria Math" panose="02040503050406030204" pitchFamily="18" charset="0"/>
                                                      </a:rPr>
                                                      <m:t> </m:t>
                                                    </m:r>
                                                    <m:r>
                                                      <m:rPr>
                                                        <m:nor/>
                                                      </m:rPr>
                                                      <a:rPr lang="de-DE" sz="1150" b="0" i="1" dirty="0" smtClean="0">
                                                        <a:latin typeface="Cambria Math" panose="02040503050406030204" pitchFamily="18" charset="0"/>
                                                      </a:rPr>
                                                      <m:t>h</m:t>
                                                    </m:r>
                                                    <m:r>
                                                      <m:rPr>
                                                        <m:nor/>
                                                      </m:rPr>
                                                      <a:rPr lang="en-US" sz="1150" i="1" dirty="0">
                                                        <a:latin typeface="Cambria Math" panose="02040503050406030204" pitchFamily="18" charset="0"/>
                                                      </a:rPr>
                                                      <m:t>idden</m:t>
                                                    </m:r>
                                                    <m:r>
                                                      <m:rPr>
                                                        <m:nor/>
                                                      </m:rPr>
                                                      <a:rPr lang="de-DE" sz="1150" b="0" i="1" dirty="0" smtClean="0">
                                                        <a:latin typeface="Cambria Math" panose="02040503050406030204" pitchFamily="18" charset="0"/>
                                                      </a:rPr>
                                                      <m:t> </m:t>
                                                    </m:r>
                                                    <m:r>
                                                      <m:rPr>
                                                        <m:nor/>
                                                      </m:rPr>
                                                      <a:rPr lang="en-US" sz="1150" i="1" dirty="0">
                                                        <a:latin typeface="Cambria Math" panose="02040503050406030204" pitchFamily="18" charset="0"/>
                                                      </a:rPr>
                                                      <m:t>state</m:t>
                                                    </m:r>
                                                    <m:r>
                                                      <m:rPr>
                                                        <m:nor/>
                                                      </m:rPr>
                                                      <a:rPr lang="de-DE" sz="1150" b="0" i="1" dirty="0" smtClean="0">
                                                        <a:latin typeface="Cambria Math" panose="02040503050406030204" pitchFamily="18" charset="0"/>
                                                      </a:rPr>
                                                      <m:t> </m:t>
                                                    </m:r>
                                                    <m:r>
                                                      <m:rPr>
                                                        <m:nor/>
                                                      </m:rPr>
                                                      <a:rPr lang="en-US" sz="1150" i="1" dirty="0">
                                                        <a:latin typeface="Cambria Math" panose="02040503050406030204" pitchFamily="18" charset="0"/>
                                                      </a:rPr>
                                                      <m:t>vectors</m:t>
                                                    </m:r>
                                                    <m:r>
                                                      <m:rPr>
                                                        <m:nor/>
                                                      </m:rPr>
                                                      <a:rPr lang="en-US" sz="1150" i="1" dirty="0">
                                                        <a:latin typeface="Cambria Math" panose="02040503050406030204" pitchFamily="18" charset="0"/>
                                                      </a:rPr>
                                                      <m:t> </m:t>
                                                    </m:r>
                                                    <m:r>
                                                      <m:rPr>
                                                        <m:nor/>
                                                      </m:rPr>
                                                      <a:rPr lang="en-US" sz="1150" i="1" dirty="0">
                                                        <a:latin typeface="Cambria Math" panose="02040503050406030204" pitchFamily="18" charset="0"/>
                                                      </a:rPr>
                                                      <m:t>for</m:t>
                                                    </m:r>
                                                    <m:r>
                                                      <m:rPr>
                                                        <m:nor/>
                                                      </m:rPr>
                                                      <a:rPr lang="en-US" sz="1150" i="1" dirty="0">
                                                        <a:latin typeface="Cambria Math" panose="02040503050406030204" pitchFamily="18" charset="0"/>
                                                      </a:rPr>
                                                      <m:t>  </m:t>
                                                    </m:r>
                                                    <m:r>
                                                      <a:rPr lang="de-DE" sz="1150" i="1" dirty="0">
                                                        <a:latin typeface="Cambria Math" panose="02040503050406030204" pitchFamily="18" charset="0"/>
                                                      </a:rPr>
                                                      <m:t>𝑛</m:t>
                                                    </m:r>
                                                    <m:r>
                                                      <a:rPr lang="de-DE" sz="1150" i="1" dirty="0">
                                                        <a:latin typeface="Cambria Math" panose="02040503050406030204" pitchFamily="18" charset="0"/>
                                                      </a:rPr>
                                                      <m:t> </m:t>
                                                    </m:r>
                                                    <m:r>
                                                      <m:rPr>
                                                        <m:nor/>
                                                      </m:rPr>
                                                      <a:rPr lang="en-US" sz="1150" i="1" dirty="0">
                                                        <a:latin typeface="Cambria Math" panose="02040503050406030204" pitchFamily="18" charset="0"/>
                                                      </a:rPr>
                                                      <m:t>confirmed</m:t>
                                                    </m:r>
                                                    <m:r>
                                                      <m:rPr>
                                                        <m:nor/>
                                                      </m:rPr>
                                                      <a:rPr lang="en-US" sz="1150" i="1" dirty="0">
                                                        <a:latin typeface="Cambria Math" panose="02040503050406030204" pitchFamily="18" charset="0"/>
                                                      </a:rPr>
                                                      <m:t> </m:t>
                                                    </m:r>
                                                    <m:r>
                                                      <m:rPr>
                                                        <m:nor/>
                                                      </m:rPr>
                                                      <a:rPr lang="en-US" sz="1150" i="1" dirty="0">
                                                        <a:latin typeface="Cambria Math" panose="02040503050406030204" pitchFamily="18" charset="0"/>
                                                      </a:rPr>
                                                      <m:t>tracks</m:t>
                                                    </m:r>
                                                    <m:r>
                                                      <m:rPr>
                                                        <m:nor/>
                                                      </m:rPr>
                                                      <a:rPr lang="de-DE" sz="1150" b="0" i="1" dirty="0" smtClean="0">
                                                        <a:latin typeface="Cambria Math" panose="02040503050406030204" pitchFamily="18" charset="0"/>
                                                      </a:rPr>
                                                      <m:t> </m:t>
                                                    </m:r>
                                                  </m:oMath>
                                                </m:oMathPara>
                                              </a14:m>
                                              <a:endParaRPr lang="en-US" sz="1150"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3293621" y="4556068"/>
                                              <a:ext cx="3980214" cy="1369606"/>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172" name="Textfeld 171">
                                              <a:extLst>
                                                <a:ext uri="{FF2B5EF4-FFF2-40B4-BE49-F238E27FC236}">
                                                  <a16:creationId xmlns:a16="http://schemas.microsoft.com/office/drawing/2014/main" id="{1A9F2A70-E78B-41AC-F0DA-7E233D64E5B0}"/>
                                                </a:ext>
                                              </a:extLst>
                                            </p:cNvPr>
                                            <p:cNvSpPr txBox="1"/>
                                            <p:nvPr/>
                                          </p:nvSpPr>
                                          <p:spPr>
                                            <a:xfrm>
                                              <a:off x="7266255"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66255" y="2703757"/>
                                              <a:ext cx="301768" cy="317203"/>
                                            </a:xfrm>
                                            <a:prstGeom prst="rect">
                                              <a:avLst/>
                                            </a:prstGeom>
                                            <a:blipFill>
                                              <a:blip r:embed="rId7"/>
                                              <a:stretch>
                                                <a:fillRect r="-100000"/>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6522"/>
                                        <a:chOff x="5269984" y="777136"/>
                                        <a:chExt cx="1978411" cy="1816522"/>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r>
                                                    <m:rPr>
                                                      <m:sty m:val="p"/>
                                                    </m:rPr>
                                                    <a:rPr lang="de-DE" sz="1200" b="0" i="0" kern="1200" dirty="0" smtClean="0">
                                                      <a:solidFill>
                                                        <a:prstClr val="white"/>
                                                      </a:solidFill>
                                                      <a:latin typeface="Cambria Math" panose="02040503050406030204" pitchFamily="18" charset="0"/>
                                                    </a:rPr>
                                                    <m:t>h</m:t>
                                                  </m:r>
                                                </m:oMath>
                                              </a14:m>
                                              <a:r>
                                                <a:rPr lang="en-US" sz="1200" kern="1200" dirty="0">
                                                  <a:solidFill>
                                                    <a:prstClr val="white"/>
                                                  </a:solidFill>
                                                  <a:latin typeface="Daimler CS" pitchFamily="2" charset="0"/>
                                                </a:rPr>
                                                <a:t>idden 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645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6455"/>
                                              <a:ext cx="513909" cy="317203"/>
                                            </a:xfrm>
                                            <a:prstGeom prst="rect">
                                              <a:avLst/>
                                            </a:prstGeom>
                                            <a:blipFill>
                                              <a:blip r:embed="rId9"/>
                                              <a:stretch>
                                                <a:fillRect r="-1190"/>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39750" y="2865372"/>
                                        <a:ext cx="2419089" cy="1159368"/>
                                        <a:chOff x="4728650" y="2865372"/>
                                        <a:chExt cx="2419089" cy="1159368"/>
                                      </a:xfrm>
                                    </p:grpSpPr>
                                    <mc:AlternateContent xmlns:mc="http://schemas.openxmlformats.org/markup-compatibility/2006">
                                      <mc:Choice xmlns:a14="http://schemas.microsoft.com/office/drawing/2010/main" Requires="a14">
                                        <p:sp>
                                          <p:nvSpPr>
                                            <p:cNvPr id="164" name="Textfeld 163">
                                              <a:extLst>
                                                <a:ext uri="{FF2B5EF4-FFF2-40B4-BE49-F238E27FC236}">
                                                  <a16:creationId xmlns:a16="http://schemas.microsoft.com/office/drawing/2014/main" id="{BDB86E56-542A-0930-47EF-762C789F01D8}"/>
                                                </a:ext>
                                              </a:extLst>
                                            </p:cNvPr>
                                            <p:cNvSpPr txBox="1"/>
                                            <p:nvPr/>
                                          </p:nvSpPr>
                                          <p:spPr>
                                            <a:xfrm>
                                              <a:off x="4728650"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28650" y="3707537"/>
                                              <a:ext cx="513909" cy="317203"/>
                                            </a:xfrm>
                                            <a:prstGeom prst="rect">
                                              <a:avLst/>
                                            </a:prstGeom>
                                            <a:blipFill>
                                              <a:blip r:embed="rId10"/>
                                              <a:stretch>
                                                <a:fillRect r="-3571"/>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11"/>
                                          <a:stretch>
                                            <a:fillRect r="-98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857281" y="2614333"/>
                                  <a:ext cx="54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85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38822" y="2450590"/>
                            <a:ext cx="799368" cy="542134"/>
                          </a:xfrm>
                          <a:prstGeom prst="bentConnector4">
                            <a:avLst>
                              <a:gd name="adj1" fmla="val -19004"/>
                              <a:gd name="adj2" fmla="val 68409"/>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90749"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𝑢</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75512" y="2812822"/>
                    <a:ext cx="149836" cy="147727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6860"/>
                    <a:ext cx="298033" cy="1469519"/>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392244" y="1067321"/>
                  <a:ext cx="54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607865" y="1084119"/>
                  <a:ext cx="54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98" name="Gruppieren 197">
            <a:extLst>
              <a:ext uri="{FF2B5EF4-FFF2-40B4-BE49-F238E27FC236}">
                <a16:creationId xmlns:a16="http://schemas.microsoft.com/office/drawing/2014/main" id="{414F6250-4B0B-93E9-3530-0CDC1AF36E53}"/>
              </a:ext>
            </a:extLst>
          </p:cNvPr>
          <p:cNvGrpSpPr/>
          <p:nvPr/>
        </p:nvGrpSpPr>
        <p:grpSpPr>
          <a:xfrm>
            <a:off x="667760" y="408890"/>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grpSp>
        <p:nvGrpSpPr>
          <p:cNvPr id="1177" name="Gruppieren 1176">
            <a:extLst>
              <a:ext uri="{FF2B5EF4-FFF2-40B4-BE49-F238E27FC236}">
                <a16:creationId xmlns:a16="http://schemas.microsoft.com/office/drawing/2014/main" id="{5E90C157-B9F6-DB7E-ED63-5A086641F5B5}"/>
              </a:ext>
            </a:extLst>
          </p:cNvPr>
          <p:cNvGrpSpPr/>
          <p:nvPr/>
        </p:nvGrpSpPr>
        <p:grpSpPr>
          <a:xfrm>
            <a:off x="1935717" y="967904"/>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93038437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1557526" y="1030550"/>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5799066" y="1083881"/>
                  <a:ext cx="1541822"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State vector with 5 states per timestam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5751871" y="3958057"/>
                  <a:ext cx="1589018"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State vector with 5 state predictions for timestam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8000"/>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865</Words>
  <Application>Microsoft Office PowerPoint</Application>
  <PresentationFormat>Widescreen</PresentationFormat>
  <Paragraphs>1089</Paragraphs>
  <Slides>49</Slides>
  <Notes>41</Notes>
  <HiddenSlides>13</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37</cp:revision>
  <dcterms:created xsi:type="dcterms:W3CDTF">2022-02-05T01:08:08Z</dcterms:created>
  <dcterms:modified xsi:type="dcterms:W3CDTF">2024-11-14T07: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